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</p:sldMasterIdLst>
  <p:notesMasterIdLst>
    <p:notesMasterId r:id="rId8"/>
  </p:notesMasterIdLst>
  <p:sldIdLst>
    <p:sldId id="399" r:id="rId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844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B00000"/>
    <a:srgbClr val="444444"/>
    <a:srgbClr val="F6F6F6"/>
    <a:srgbClr val="E5E5E5"/>
    <a:srgbClr val="BDBDBD"/>
    <a:srgbClr val="727272"/>
    <a:srgbClr val="D9D9D9"/>
    <a:srgbClr val="EB0000"/>
    <a:srgbClr val="C60018"/>
    <a:srgbClr val="A2001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48" d="100"/>
          <a:sy n="148" d="100"/>
        </p:scale>
        <p:origin x="654" y="114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844"/>
        <p:guide orient="horz" pos="3770"/>
        <p:guide orient="horz" pos="14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PAR-EPS)" userId="fd3b2067-2981-4ad8-bf3a-d2e1004e4fa8" providerId="ADAL" clId="{300A0400-FC34-4A49-8542-480A2F7F3232}"/>
    <pc:docChg chg="modSld">
      <pc:chgData name="Weigel Stefan (PAR-EPS)" userId="fd3b2067-2981-4ad8-bf3a-d2e1004e4fa8" providerId="ADAL" clId="{300A0400-FC34-4A49-8542-480A2F7F3232}" dt="2024-04-22T11:52:22.856" v="13" actId="692"/>
      <pc:docMkLst>
        <pc:docMk/>
      </pc:docMkLst>
      <pc:sldChg chg="modSp mod setBg">
        <pc:chgData name="Weigel Stefan (PAR-EPS)" userId="fd3b2067-2981-4ad8-bf3a-d2e1004e4fa8" providerId="ADAL" clId="{300A0400-FC34-4A49-8542-480A2F7F3232}" dt="2024-04-22T11:52:22.856" v="13" actId="692"/>
        <pc:sldMkLst>
          <pc:docMk/>
          <pc:sldMk cId="2338066774" sldId="399"/>
        </pc:sldMkLst>
        <pc:spChg chg="mod">
          <ac:chgData name="Weigel Stefan (PAR-EPS)" userId="fd3b2067-2981-4ad8-bf3a-d2e1004e4fa8" providerId="ADAL" clId="{300A0400-FC34-4A49-8542-480A2F7F3232}" dt="2024-04-22T11:51:48.719" v="9" actId="554"/>
          <ac:spMkLst>
            <pc:docMk/>
            <pc:sldMk cId="2338066774" sldId="399"/>
            <ac:spMk id="7" creationId="{CE60A944-7104-442D-B06A-85C8256131F7}"/>
          </ac:spMkLst>
        </pc:spChg>
        <pc:spChg chg="mod">
          <ac:chgData name="Weigel Stefan (PAR-EPS)" userId="fd3b2067-2981-4ad8-bf3a-d2e1004e4fa8" providerId="ADAL" clId="{300A0400-FC34-4A49-8542-480A2F7F3232}" dt="2024-04-22T11:51:48.719" v="9" actId="554"/>
          <ac:spMkLst>
            <pc:docMk/>
            <pc:sldMk cId="2338066774" sldId="399"/>
            <ac:spMk id="11" creationId="{84F82B92-ACCD-41AC-8B9B-F49F946956E6}"/>
          </ac:spMkLst>
        </pc:spChg>
        <pc:graphicFrameChg chg="mod">
          <ac:chgData name="Weigel Stefan (PAR-EPS)" userId="fd3b2067-2981-4ad8-bf3a-d2e1004e4fa8" providerId="ADAL" clId="{300A0400-FC34-4A49-8542-480A2F7F3232}" dt="2024-04-22T11:52:22.856" v="13" actId="692"/>
          <ac:graphicFrameMkLst>
            <pc:docMk/>
            <pc:sldMk cId="2338066774" sldId="399"/>
            <ac:graphicFrameMk id="6" creationId="{67E5BF1A-DCFF-4431-8721-9C385B8E6F53}"/>
          </ac:graphicFrameMkLst>
        </pc:graphicFrame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Meyer Raphael (PAR-ES)" userId="79615dfe-ed48-4e74-a40f-4f7b034c1c27" providerId="ADAL" clId="{3377B460-AD2F-4DD0-B2F3-A223CE4BFD59}"/>
    <pc:docChg chg="custSel addSld modSld">
      <pc:chgData name="Meyer Raphael (PAR-ES)" userId="79615dfe-ed48-4e74-a40f-4f7b034c1c27" providerId="ADAL" clId="{3377B460-AD2F-4DD0-B2F3-A223CE4BFD59}" dt="2022-01-17T12:46:49.191" v="28" actId="20577"/>
      <pc:docMkLst>
        <pc:docMk/>
      </pc:docMkLst>
      <pc:sldChg chg="addSp delSp modSp add mod">
        <pc:chgData name="Meyer Raphael (PAR-ES)" userId="79615dfe-ed48-4e74-a40f-4f7b034c1c27" providerId="ADAL" clId="{3377B460-AD2F-4DD0-B2F3-A223CE4BFD59}" dt="2022-01-17T12:46:49.191" v="28" actId="20577"/>
        <pc:sldMkLst>
          <pc:docMk/>
          <pc:sldMk cId="2338066774" sldId="399"/>
        </pc:sldMkLst>
        <pc:spChg chg="mod">
          <ac:chgData name="Meyer Raphael (PAR-ES)" userId="79615dfe-ed48-4e74-a40f-4f7b034c1c27" providerId="ADAL" clId="{3377B460-AD2F-4DD0-B2F3-A223CE4BFD59}" dt="2022-01-17T12:46:49.191" v="28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3377B460-AD2F-4DD0-B2F3-A223CE4BFD59}" dt="2022-01-17T12:38:30.988" v="6" actId="20577"/>
          <ac:spMkLst>
            <pc:docMk/>
            <pc:sldMk cId="2338066774" sldId="399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3377B460-AD2F-4DD0-B2F3-A223CE4BFD59}" dt="2022-01-17T12:42:58.172" v="20" actId="14100"/>
          <ac:graphicFrameMkLst>
            <pc:docMk/>
            <pc:sldMk cId="2338066774" sldId="399"/>
            <ac:graphicFrameMk id="6" creationId="{67E5BF1A-DCFF-4431-8721-9C385B8E6F53}"/>
          </ac:graphicFrameMkLst>
        </pc:graphicFrameChg>
        <pc:graphicFrameChg chg="del">
          <ac:chgData name="Meyer Raphael (PAR-ES)" userId="79615dfe-ed48-4e74-a40f-4f7b034c1c27" providerId="ADAL" clId="{3377B460-AD2F-4DD0-B2F3-A223CE4BFD59}" dt="2022-01-17T12:37:49.391" v="1" actId="478"/>
          <ac:graphicFrameMkLst>
            <pc:docMk/>
            <pc:sldMk cId="2338066774" sldId="399"/>
            <ac:graphicFrameMk id="8" creationId="{6973129B-3766-41C3-BD0F-FBF7F523AB4F}"/>
          </ac:graphicFrameMkLst>
        </pc:graphicFrameChg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Meyer Raphael (PAR-ES)" userId="79615dfe-ed48-4e74-a40f-4f7b034c1c27" providerId="ADAL" clId="{D16ED016-9D6C-4DA7-AE6D-6318925334DB}"/>
    <pc:docChg chg="custSel addSld delSld modSld">
      <pc:chgData name="Meyer Raphael (PAR-ES)" userId="79615dfe-ed48-4e74-a40f-4f7b034c1c27" providerId="ADAL" clId="{D16ED016-9D6C-4DA7-AE6D-6318925334DB}" dt="2022-01-12T16:07:31.739" v="160"/>
      <pc:docMkLst>
        <pc:docMk/>
      </pc:docMkLst>
      <pc:sldChg chg="new del">
        <pc:chgData name="Meyer Raphael (PAR-ES)" userId="79615dfe-ed48-4e74-a40f-4f7b034c1c27" providerId="ADAL" clId="{D16ED016-9D6C-4DA7-AE6D-6318925334DB}" dt="2022-01-12T15:54:26.675" v="109" actId="47"/>
        <pc:sldMkLst>
          <pc:docMk/>
          <pc:sldMk cId="168277507" sldId="398"/>
        </pc:sldMkLst>
      </pc:sldChg>
      <pc:sldChg chg="addSp delSp modSp add mod">
        <pc:chgData name="Meyer Raphael (PAR-ES)" userId="79615dfe-ed48-4e74-a40f-4f7b034c1c27" providerId="ADAL" clId="{D16ED016-9D6C-4DA7-AE6D-6318925334DB}" dt="2022-01-12T16:07:31.739" v="160"/>
        <pc:sldMkLst>
          <pc:docMk/>
          <pc:sldMk cId="2131180641" sldId="398"/>
        </pc:sldMkLst>
        <pc:spChg chg="mod">
          <ac:chgData name="Meyer Raphael (PAR-ES)" userId="79615dfe-ed48-4e74-a40f-4f7b034c1c27" providerId="ADAL" clId="{D16ED016-9D6C-4DA7-AE6D-6318925334DB}" dt="2022-01-12T16:06:46.771" v="155"/>
          <ac:spMkLst>
            <pc:docMk/>
            <pc:sldMk cId="2131180641" sldId="398"/>
            <ac:spMk id="2" creationId="{00000000-0000-0000-0000-000000000000}"/>
          </ac:spMkLst>
        </pc:spChg>
        <pc:spChg chg="del mod">
          <ac:chgData name="Meyer Raphael (PAR-ES)" userId="79615dfe-ed48-4e74-a40f-4f7b034c1c27" providerId="ADAL" clId="{D16ED016-9D6C-4DA7-AE6D-6318925334DB}" dt="2022-01-12T16:07:18.375" v="158"/>
          <ac:spMkLst>
            <pc:docMk/>
            <pc:sldMk cId="2131180641" sldId="398"/>
            <ac:spMk id="6" creationId="{0148E78D-7FBB-46BC-A7E3-0EFE6D9E4679}"/>
          </ac:spMkLst>
        </pc:spChg>
        <pc:spChg chg="del">
          <ac:chgData name="Meyer Raphael (PAR-ES)" userId="79615dfe-ed48-4e74-a40f-4f7b034c1c27" providerId="ADAL" clId="{D16ED016-9D6C-4DA7-AE6D-6318925334DB}" dt="2022-01-12T16:01:46.375" v="130" actId="478"/>
          <ac:spMkLst>
            <pc:docMk/>
            <pc:sldMk cId="2131180641" sldId="398"/>
            <ac:spMk id="10" creationId="{41B9B9AB-4B12-4760-AF37-4FABDDFAE68B}"/>
          </ac:spMkLst>
        </pc:spChg>
        <pc:spChg chg="add mod">
          <ac:chgData name="Meyer Raphael (PAR-ES)" userId="79615dfe-ed48-4e74-a40f-4f7b034c1c27" providerId="ADAL" clId="{D16ED016-9D6C-4DA7-AE6D-6318925334DB}" dt="2022-01-12T16:01:09.927" v="129" actId="14100"/>
          <ac:spMkLst>
            <pc:docMk/>
            <pc:sldMk cId="2131180641" sldId="398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D16ED016-9D6C-4DA7-AE6D-6318925334DB}" dt="2022-01-12T16:07:31.739" v="160"/>
          <ac:graphicFrameMkLst>
            <pc:docMk/>
            <pc:sldMk cId="2131180641" sldId="398"/>
            <ac:graphicFrameMk id="8" creationId="{6973129B-3766-41C3-BD0F-FBF7F523AB4F}"/>
          </ac:graphicFrameMkLst>
        </pc:graphicFrameChg>
        <pc:graphicFrameChg chg="del">
          <ac:chgData name="Meyer Raphael (PAR-ES)" userId="79615dfe-ed48-4e74-a40f-4f7b034c1c27" providerId="ADAL" clId="{D16ED016-9D6C-4DA7-AE6D-6318925334DB}" dt="2022-01-12T15:54:38.761" v="111" actId="478"/>
          <ac:graphicFrameMkLst>
            <pc:docMk/>
            <pc:sldMk cId="2131180641" sldId="398"/>
            <ac:graphicFrameMk id="9" creationId="{00000000-0000-0000-0000-000000000000}"/>
          </ac:graphicFrameMkLst>
        </pc:graphicFrameChg>
      </pc:sldChg>
      <pc:sldChg chg="add del">
        <pc:chgData name="Meyer Raphael (PAR-ES)" userId="79615dfe-ed48-4e74-a40f-4f7b034c1c27" providerId="ADAL" clId="{D16ED016-9D6C-4DA7-AE6D-6318925334DB}" dt="2021-12-16T10:16:25.913" v="1"/>
        <pc:sldMkLst>
          <pc:docMk/>
          <pc:sldMk cId="2363598361" sldId="398"/>
        </pc:sldMkLst>
      </pc:sldChg>
      <pc:sldChg chg="addSp delSp modSp add del mod">
        <pc:chgData name="Meyer Raphael (PAR-ES)" userId="79615dfe-ed48-4e74-a40f-4f7b034c1c27" providerId="ADAL" clId="{D16ED016-9D6C-4DA7-AE6D-6318925334DB}" dt="2021-12-16T13:41:54.959" v="107" actId="47"/>
        <pc:sldMkLst>
          <pc:docMk/>
          <pc:sldMk cId="2860123142" sldId="398"/>
        </pc:sldMkLst>
        <pc:spChg chg="mod">
          <ac:chgData name="Meyer Raphael (PAR-ES)" userId="79615dfe-ed48-4e74-a40f-4f7b034c1c27" providerId="ADAL" clId="{D16ED016-9D6C-4DA7-AE6D-6318925334DB}" dt="2021-12-16T10:17:04.394" v="5"/>
          <ac:spMkLst>
            <pc:docMk/>
            <pc:sldMk cId="2860123142" sldId="398"/>
            <ac:spMk id="6" creationId="{1A98C252-C02D-4544-840F-54EE422435AE}"/>
          </ac:spMkLst>
        </pc:spChg>
        <pc:graphicFrameChg chg="add mod">
          <ac:chgData name="Meyer Raphael (PAR-ES)" userId="79615dfe-ed48-4e74-a40f-4f7b034c1c27" providerId="ADAL" clId="{D16ED016-9D6C-4DA7-AE6D-6318925334DB}" dt="2021-12-16T10:34:08.383" v="94" actId="14100"/>
          <ac:graphicFrameMkLst>
            <pc:docMk/>
            <pc:sldMk cId="2860123142" sldId="398"/>
            <ac:graphicFrameMk id="5" creationId="{6729762D-1076-482A-8364-458575171DFC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02.624" v="93" actId="14100"/>
          <ac:graphicFrameMkLst>
            <pc:docMk/>
            <pc:sldMk cId="2860123142" sldId="398"/>
            <ac:graphicFrameMk id="7" creationId="{6AA49CA7-7CB9-4541-8C87-A708BBB8238B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0.878" v="3" actId="478"/>
          <ac:graphicFrameMkLst>
            <pc:docMk/>
            <pc:sldMk cId="2860123142" sldId="398"/>
            <ac:graphicFrameMk id="8" creationId="{9B23B171-CA74-4173-BBA6-57F61B8D6F91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3.347" v="4" actId="478"/>
          <ac:graphicFrameMkLst>
            <pc:docMk/>
            <pc:sldMk cId="2860123142" sldId="398"/>
            <ac:graphicFrameMk id="9" creationId="{CB25D658-4CAC-4D7D-8D2D-42B74A2C2DC7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13.245" v="95" actId="14100"/>
          <ac:graphicFrameMkLst>
            <pc:docMk/>
            <pc:sldMk cId="2860123142" sldId="398"/>
            <ac:graphicFrameMk id="10" creationId="{29D96E2E-4E51-44E3-8548-624FC66A1AE2}"/>
          </ac:graphicFrameMkLst>
        </pc:graphicFrameChg>
      </pc:sld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Weigel Stefan (PAR-EPS)" userId="fd3b2067-2981-4ad8-bf3a-d2e1004e4fa8" providerId="ADAL" clId="{C6DB2B97-93FA-44CB-84DB-1B5710C819F0}"/>
    <pc:docChg chg="modSld">
      <pc:chgData name="Weigel Stefan (PAR-EPS)" userId="fd3b2067-2981-4ad8-bf3a-d2e1004e4fa8" providerId="ADAL" clId="{C6DB2B97-93FA-44CB-84DB-1B5710C819F0}" dt="2024-02-01T17:25:08.257" v="4" actId="27918"/>
      <pc:docMkLst>
        <pc:docMk/>
      </pc:docMkLst>
      <pc:sldChg chg="mod">
        <pc:chgData name="Weigel Stefan (PAR-EPS)" userId="fd3b2067-2981-4ad8-bf3a-d2e1004e4fa8" providerId="ADAL" clId="{C6DB2B97-93FA-44CB-84DB-1B5710C819F0}" dt="2024-02-01T17:25:08.257" v="4" actId="27918"/>
        <pc:sldMkLst>
          <pc:docMk/>
          <pc:sldMk cId="2338066774" sldId="399"/>
        </pc:sldMkLst>
      </pc:sldChg>
    </pc:docChg>
  </pc:docChgLst>
  <pc:docChgLst>
    <pc:chgData name="Meyer Raphael (PAR-ES)" userId="79615dfe-ed48-4e74-a40f-4f7b034c1c27" providerId="ADAL" clId="{6E4AF49B-A06A-4787-92FE-8CB0B1971DCB}"/>
    <pc:docChg chg="delSld">
      <pc:chgData name="Meyer Raphael (PAR-ES)" userId="79615dfe-ed48-4e74-a40f-4f7b034c1c27" providerId="ADAL" clId="{6E4AF49B-A06A-4787-92FE-8CB0B1971DCB}" dt="2022-03-03T14:54:34.669" v="0" actId="47"/>
      <pc:docMkLst>
        <pc:docMk/>
      </pc:docMkLst>
      <pc:sldChg chg="del">
        <pc:chgData name="Meyer Raphael (PAR-ES)" userId="79615dfe-ed48-4e74-a40f-4f7b034c1c27" providerId="ADAL" clId="{6E4AF49B-A06A-4787-92FE-8CB0B1971DCB}" dt="2022-03-03T14:54:34.669" v="0" actId="47"/>
        <pc:sldMkLst>
          <pc:docMk/>
          <pc:sldMk cId="179071578" sldId="400"/>
        </pc:sldMkLst>
      </pc:sldChg>
      <pc:sldChg chg="del">
        <pc:chgData name="Meyer Raphael (PAR-ES)" userId="79615dfe-ed48-4e74-a40f-4f7b034c1c27" providerId="ADAL" clId="{6E4AF49B-A06A-4787-92FE-8CB0B1971DCB}" dt="2022-03-03T14:54:34.669" v="0" actId="47"/>
        <pc:sldMkLst>
          <pc:docMk/>
          <pc:sldMk cId="2084493369" sldId="401"/>
        </pc:sldMkLst>
      </pc:sldChg>
      <pc:sldChg chg="del">
        <pc:chgData name="Meyer Raphael (PAR-ES)" userId="79615dfe-ed48-4e74-a40f-4f7b034c1c27" providerId="ADAL" clId="{6E4AF49B-A06A-4787-92FE-8CB0B1971DCB}" dt="2022-03-03T14:54:34.669" v="0" actId="47"/>
        <pc:sldMkLst>
          <pc:docMk/>
          <pc:sldMk cId="1008431792" sldId="402"/>
        </pc:sldMkLst>
      </pc:sld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B3E5AB2-E155-4A4B-88C1-08DCD74E22AE}"/>
    <pc:docChg chg="custSel addSld delSld modSld">
      <pc:chgData name="Meyer Raphael (PAR-ES)" userId="79615dfe-ed48-4e74-a40f-4f7b034c1c27" providerId="ADAL" clId="{4B3E5AB2-E155-4A4B-88C1-08DCD74E22AE}" dt="2021-12-15T13:09:05.881" v="194"/>
      <pc:docMkLst>
        <pc:docMk/>
      </pc:docMkLst>
      <pc:sldChg chg="addSp delSp modSp add mod">
        <pc:chgData name="Meyer Raphael (PAR-ES)" userId="79615dfe-ed48-4e74-a40f-4f7b034c1c27" providerId="ADAL" clId="{4B3E5AB2-E155-4A4B-88C1-08DCD74E22AE}" dt="2021-12-15T13:09:05.881" v="194"/>
        <pc:sldMkLst>
          <pc:docMk/>
          <pc:sldMk cId="825719232" sldId="397"/>
        </pc:sldMkLst>
        <pc:spChg chg="mod">
          <ac:chgData name="Meyer Raphael (PAR-ES)" userId="79615dfe-ed48-4e74-a40f-4f7b034c1c27" providerId="ADAL" clId="{4B3E5AB2-E155-4A4B-88C1-08DCD74E22AE}" dt="2021-12-15T13:01:43.153" v="127" actId="20577"/>
          <ac:spMkLst>
            <pc:docMk/>
            <pc:sldMk cId="825719232" sldId="39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B3E5AB2-E155-4A4B-88C1-08DCD74E22AE}" dt="2021-12-15T13:02:22.223" v="180" actId="20577"/>
          <ac:spMkLst>
            <pc:docMk/>
            <pc:sldMk cId="825719232" sldId="397"/>
            <ac:spMk id="8" creationId="{41FD5CBC-8C89-4499-B28B-5EC68806F1EB}"/>
          </ac:spMkLst>
        </pc:spChg>
        <pc:graphicFrameChg chg="del">
          <ac:chgData name="Meyer Raphael (PAR-ES)" userId="79615dfe-ed48-4e74-a40f-4f7b034c1c27" providerId="ADAL" clId="{4B3E5AB2-E155-4A4B-88C1-08DCD74E22AE}" dt="2021-12-15T13:00:38.250" v="70" actId="478"/>
          <ac:graphicFrameMkLst>
            <pc:docMk/>
            <pc:sldMk cId="825719232" sldId="397"/>
            <ac:graphicFrameMk id="9" creationId="{00000000-0000-0000-0000-000000000000}"/>
          </ac:graphicFrameMkLst>
        </pc:graphicFrameChg>
        <pc:graphicFrameChg chg="add mod">
          <ac:chgData name="Meyer Raphael (PAR-ES)" userId="79615dfe-ed48-4e74-a40f-4f7b034c1c27" providerId="ADAL" clId="{4B3E5AB2-E155-4A4B-88C1-08DCD74E22AE}" dt="2021-12-15T13:09:05.881" v="194"/>
          <ac:graphicFrameMkLst>
            <pc:docMk/>
            <pc:sldMk cId="825719232" sldId="397"/>
            <ac:graphicFrameMk id="12" creationId="{00000000-0008-0000-0300-000002000000}"/>
          </ac:graphicFrameMkLst>
        </pc:graphicFrameChg>
      </pc:sldChg>
      <pc:sldChg chg="new del">
        <pc:chgData name="Meyer Raphael (PAR-ES)" userId="79615dfe-ed48-4e74-a40f-4f7b034c1c27" providerId="ADAL" clId="{4B3E5AB2-E155-4A4B-88C1-08DCD74E22AE}" dt="2021-12-15T12:59:03.696" v="1" actId="2696"/>
        <pc:sldMkLst>
          <pc:docMk/>
          <pc:sldMk cId="2200286678" sldId="397"/>
        </pc:sldMkLst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Weigel Stefan (PAR-ES)" userId="fd3b2067-2981-4ad8-bf3a-d2e1004e4fa8" providerId="ADAL" clId="{63C52849-CCC6-4240-AF62-3546E06B14E1}"/>
    <pc:docChg chg="modSld">
      <pc:chgData name="Weigel Stefan (PAR-ES)" userId="fd3b2067-2981-4ad8-bf3a-d2e1004e4fa8" providerId="ADAL" clId="{63C52849-CCC6-4240-AF62-3546E06B14E1}" dt="2023-03-23T16:39:37.399" v="7" actId="27918"/>
      <pc:docMkLst>
        <pc:docMk/>
      </pc:docMkLst>
      <pc:sldChg chg="mod">
        <pc:chgData name="Weigel Stefan (PAR-ES)" userId="fd3b2067-2981-4ad8-bf3a-d2e1004e4fa8" providerId="ADAL" clId="{63C52849-CCC6-4240-AF62-3546E06B14E1}" dt="2023-03-23T16:39:37.399" v="7" actId="27918"/>
        <pc:sldMkLst>
          <pc:docMk/>
          <pc:sldMk cId="2338066774" sldId="399"/>
        </pc:sldMkLst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0BE059E5-9B00-412E-A1C8-3B1900FD7999}"/>
    <pc:docChg chg="addSld delSld">
      <pc:chgData name="Meyer Raphael (PAR-ES)" userId="79615dfe-ed48-4e74-a40f-4f7b034c1c27" providerId="ADAL" clId="{0BE059E5-9B00-412E-A1C8-3B1900FD7999}" dt="2022-01-17T13:59:13.933" v="7" actId="2890"/>
      <pc:docMkLst>
        <pc:docMk/>
      </pc:docMkLst>
      <pc:sldChg chg="del">
        <pc:chgData name="Meyer Raphael (PAR-ES)" userId="79615dfe-ed48-4e74-a40f-4f7b034c1c27" providerId="ADAL" clId="{0BE059E5-9B00-412E-A1C8-3B1900FD7999}" dt="2022-01-17T13:57:43.341" v="3" actId="47"/>
        <pc:sldMkLst>
          <pc:docMk/>
          <pc:sldMk cId="1063731919" sldId="260"/>
        </pc:sldMkLst>
      </pc:sldChg>
      <pc:sldChg chg="del">
        <pc:chgData name="Meyer Raphael (PAR-ES)" userId="79615dfe-ed48-4e74-a40f-4f7b034c1c27" providerId="ADAL" clId="{0BE059E5-9B00-412E-A1C8-3B1900FD7999}" dt="2022-01-17T13:57:36.682" v="1" actId="47"/>
        <pc:sldMkLst>
          <pc:docMk/>
          <pc:sldMk cId="3808035539" sldId="270"/>
        </pc:sldMkLst>
      </pc:sldChg>
      <pc:sldChg chg="del">
        <pc:chgData name="Meyer Raphael (PAR-ES)" userId="79615dfe-ed48-4e74-a40f-4f7b034c1c27" providerId="ADAL" clId="{0BE059E5-9B00-412E-A1C8-3B1900FD7999}" dt="2022-01-17T13:57:24.005" v="0" actId="47"/>
        <pc:sldMkLst>
          <pc:docMk/>
          <pc:sldMk cId="2641487227" sldId="271"/>
        </pc:sldMkLst>
      </pc:sldChg>
      <pc:sldChg chg="del">
        <pc:chgData name="Meyer Raphael (PAR-ES)" userId="79615dfe-ed48-4e74-a40f-4f7b034c1c27" providerId="ADAL" clId="{0BE059E5-9B00-412E-A1C8-3B1900FD7999}" dt="2022-01-17T13:57:36.682" v="1" actId="47"/>
        <pc:sldMkLst>
          <pc:docMk/>
          <pc:sldMk cId="3332483854" sldId="274"/>
        </pc:sldMkLst>
      </pc:sldChg>
      <pc:sldChg chg="del">
        <pc:chgData name="Meyer Raphael (PAR-ES)" userId="79615dfe-ed48-4e74-a40f-4f7b034c1c27" providerId="ADAL" clId="{0BE059E5-9B00-412E-A1C8-3B1900FD7999}" dt="2022-01-17T13:57:39.788" v="2" actId="47"/>
        <pc:sldMkLst>
          <pc:docMk/>
          <pc:sldMk cId="204404663" sldId="275"/>
        </pc:sldMkLst>
      </pc:sldChg>
      <pc:sldChg chg="del">
        <pc:chgData name="Meyer Raphael (PAR-ES)" userId="79615dfe-ed48-4e74-a40f-4f7b034c1c27" providerId="ADAL" clId="{0BE059E5-9B00-412E-A1C8-3B1900FD7999}" dt="2022-01-17T13:57:39.788" v="2" actId="47"/>
        <pc:sldMkLst>
          <pc:docMk/>
          <pc:sldMk cId="1522703358" sldId="276"/>
        </pc:sldMkLst>
      </pc:sldChg>
      <pc:sldChg chg="del">
        <pc:chgData name="Meyer Raphael (PAR-ES)" userId="79615dfe-ed48-4e74-a40f-4f7b034c1c27" providerId="ADAL" clId="{0BE059E5-9B00-412E-A1C8-3B1900FD7999}" dt="2022-01-17T13:57:43.341" v="3" actId="47"/>
        <pc:sldMkLst>
          <pc:docMk/>
          <pc:sldMk cId="2592423876" sldId="277"/>
        </pc:sldMkLst>
      </pc:sldChg>
      <pc:sldChg chg="del">
        <pc:chgData name="Meyer Raphael (PAR-ES)" userId="79615dfe-ed48-4e74-a40f-4f7b034c1c27" providerId="ADAL" clId="{0BE059E5-9B00-412E-A1C8-3B1900FD7999}" dt="2022-01-17T13:57:39.788" v="2" actId="47"/>
        <pc:sldMkLst>
          <pc:docMk/>
          <pc:sldMk cId="2184604335" sldId="278"/>
        </pc:sldMkLst>
      </pc:sldChg>
      <pc:sldChg chg="del">
        <pc:chgData name="Meyer Raphael (PAR-ES)" userId="79615dfe-ed48-4e74-a40f-4f7b034c1c27" providerId="ADAL" clId="{0BE059E5-9B00-412E-A1C8-3B1900FD7999}" dt="2022-01-17T13:57:36.682" v="1" actId="47"/>
        <pc:sldMkLst>
          <pc:docMk/>
          <pc:sldMk cId="1819982200" sldId="279"/>
        </pc:sldMkLst>
      </pc:sldChg>
      <pc:sldChg chg="del">
        <pc:chgData name="Meyer Raphael (PAR-ES)" userId="79615dfe-ed48-4e74-a40f-4f7b034c1c27" providerId="ADAL" clId="{0BE059E5-9B00-412E-A1C8-3B1900FD7999}" dt="2022-01-17T13:59:04.964" v="4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0BE059E5-9B00-412E-A1C8-3B1900FD7999}" dt="2022-01-17T13:57:43.341" v="3" actId="47"/>
        <pc:sldMkLst>
          <pc:docMk/>
          <pc:sldMk cId="176483372" sldId="316"/>
        </pc:sldMkLst>
      </pc:sldChg>
      <pc:sldChg chg="del">
        <pc:chgData name="Meyer Raphael (PAR-ES)" userId="79615dfe-ed48-4e74-a40f-4f7b034c1c27" providerId="ADAL" clId="{0BE059E5-9B00-412E-A1C8-3B1900FD7999}" dt="2022-01-17T13:57:43.341" v="3" actId="47"/>
        <pc:sldMkLst>
          <pc:docMk/>
          <pc:sldMk cId="78844114" sldId="395"/>
        </pc:sldMkLst>
      </pc:sldChg>
      <pc:sldChg chg="del">
        <pc:chgData name="Meyer Raphael (PAR-ES)" userId="79615dfe-ed48-4e74-a40f-4f7b034c1c27" providerId="ADAL" clId="{0BE059E5-9B00-412E-A1C8-3B1900FD7999}" dt="2022-01-17T13:57:36.682" v="1" actId="47"/>
        <pc:sldMkLst>
          <pc:docMk/>
          <pc:sldMk cId="3931044038" sldId="396"/>
        </pc:sldMkLst>
      </pc:sldChg>
      <pc:sldChg chg="del">
        <pc:chgData name="Meyer Raphael (PAR-ES)" userId="79615dfe-ed48-4e74-a40f-4f7b034c1c27" providerId="ADAL" clId="{0BE059E5-9B00-412E-A1C8-3B1900FD7999}" dt="2022-01-17T13:57:39.788" v="2" actId="47"/>
        <pc:sldMkLst>
          <pc:docMk/>
          <pc:sldMk cId="825719232" sldId="397"/>
        </pc:sldMkLst>
      </pc:sldChg>
      <pc:sldChg chg="del">
        <pc:chgData name="Meyer Raphael (PAR-ES)" userId="79615dfe-ed48-4e74-a40f-4f7b034c1c27" providerId="ADAL" clId="{0BE059E5-9B00-412E-A1C8-3B1900FD7999}" dt="2022-01-17T13:57:24.005" v="0" actId="47"/>
        <pc:sldMkLst>
          <pc:docMk/>
          <pc:sldMk cId="2131180641" sldId="398"/>
        </pc:sldMkLst>
      </pc:sldChg>
      <pc:sldChg chg="add">
        <pc:chgData name="Meyer Raphael (PAR-ES)" userId="79615dfe-ed48-4e74-a40f-4f7b034c1c27" providerId="ADAL" clId="{0BE059E5-9B00-412E-A1C8-3B1900FD7999}" dt="2022-01-17T13:59:12.049" v="5" actId="2890"/>
        <pc:sldMkLst>
          <pc:docMk/>
          <pc:sldMk cId="179071578" sldId="400"/>
        </pc:sldMkLst>
      </pc:sldChg>
      <pc:sldChg chg="add">
        <pc:chgData name="Meyer Raphael (PAR-ES)" userId="79615dfe-ed48-4e74-a40f-4f7b034c1c27" providerId="ADAL" clId="{0BE059E5-9B00-412E-A1C8-3B1900FD7999}" dt="2022-01-17T13:59:13.214" v="6" actId="2890"/>
        <pc:sldMkLst>
          <pc:docMk/>
          <pc:sldMk cId="2084493369" sldId="401"/>
        </pc:sldMkLst>
      </pc:sldChg>
      <pc:sldChg chg="add">
        <pc:chgData name="Meyer Raphael (PAR-ES)" userId="79615dfe-ed48-4e74-a40f-4f7b034c1c27" providerId="ADAL" clId="{0BE059E5-9B00-412E-A1C8-3B1900FD7999}" dt="2022-01-17T13:59:13.933" v="7" actId="2890"/>
        <pc:sldMkLst>
          <pc:docMk/>
          <pc:sldMk cId="1008431792" sldId="402"/>
        </pc:sldMkLst>
      </pc:sldChg>
      <pc:sldMasterChg chg="delSldLayout">
        <pc:chgData name="Meyer Raphael (PAR-ES)" userId="79615dfe-ed48-4e74-a40f-4f7b034c1c27" providerId="ADAL" clId="{0BE059E5-9B00-412E-A1C8-3B1900FD7999}" dt="2022-01-17T13:57:43.341" v="3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0BE059E5-9B00-412E-A1C8-3B1900FD7999}" dt="2022-01-17T13:57:43.341" v="3" actId="47"/>
          <pc:sldLayoutMkLst>
            <pc:docMk/>
            <pc:sldMasterMk cId="247366169" sldId="2147483712"/>
            <pc:sldLayoutMk cId="1978926214" sldId="2147483749"/>
          </pc:sldLayoutMkLst>
        </pc:sldLayoutChg>
      </pc:sldMasterChg>
    </pc:docChg>
  </pc:docChgLst>
  <pc:docChgLst>
    <pc:chgData name="Weigel Stefan (PAR-ES)" userId="fd3b2067-2981-4ad8-bf3a-d2e1004e4fa8" providerId="ADAL" clId="{E5DC8321-2A15-4029-A656-EDA02A5FF0BA}"/>
    <pc:docChg chg="modSld">
      <pc:chgData name="Weigel Stefan (PAR-ES)" userId="fd3b2067-2981-4ad8-bf3a-d2e1004e4fa8" providerId="ADAL" clId="{E5DC8321-2A15-4029-A656-EDA02A5FF0BA}" dt="2023-02-01T14:17:01.345" v="79" actId="20577"/>
      <pc:docMkLst>
        <pc:docMk/>
      </pc:docMkLst>
      <pc:sldChg chg="modSp mod">
        <pc:chgData name="Weigel Stefan (PAR-ES)" userId="fd3b2067-2981-4ad8-bf3a-d2e1004e4fa8" providerId="ADAL" clId="{E5DC8321-2A15-4029-A656-EDA02A5FF0BA}" dt="2023-02-01T14:17:01.345" v="79" actId="20577"/>
        <pc:sldMkLst>
          <pc:docMk/>
          <pc:sldMk cId="2338066774" sldId="399"/>
        </pc:sldMkLst>
        <pc:spChg chg="mod">
          <ac:chgData name="Weigel Stefan (PAR-ES)" userId="fd3b2067-2981-4ad8-bf3a-d2e1004e4fa8" providerId="ADAL" clId="{E5DC8321-2A15-4029-A656-EDA02A5FF0BA}" dt="2023-02-01T14:16:06.943" v="73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Weigel Stefan (PAR-ES)" userId="fd3b2067-2981-4ad8-bf3a-d2e1004e4fa8" providerId="ADAL" clId="{E5DC8321-2A15-4029-A656-EDA02A5FF0BA}" dt="2023-02-01T14:17:01.345" v="79" actId="20577"/>
          <ac:spMkLst>
            <pc:docMk/>
            <pc:sldMk cId="2338066774" sldId="399"/>
            <ac:spMk id="11" creationId="{84F82B92-ACCD-41AC-8B9B-F49F946956E6}"/>
          </ac:spMkLst>
        </pc:spChg>
      </pc:sld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F0F5DE81-F72C-4863-AD60-6BF2BDDD5607}"/>
    <pc:docChg chg="addSld modSld">
      <pc:chgData name="Meyer Raphael (PAR-ES)" userId="79615dfe-ed48-4e74-a40f-4f7b034c1c27" providerId="ADAL" clId="{F0F5DE81-F72C-4863-AD60-6BF2BDDD5607}" dt="2021-12-08T08:21:01.813" v="5" actId="27918"/>
      <pc:docMkLst>
        <pc:docMk/>
      </pc:docMkLst>
      <pc:sldChg chg="mod">
        <pc:chgData name="Meyer Raphael (PAR-ES)" userId="79615dfe-ed48-4e74-a40f-4f7b034c1c27" providerId="ADAL" clId="{F0F5DE81-F72C-4863-AD60-6BF2BDDD5607}" dt="2021-12-08T08:21:01.813" v="5" actId="27918"/>
        <pc:sldMkLst>
          <pc:docMk/>
          <pc:sldMk cId="1819982200" sldId="279"/>
        </pc:sldMkLst>
      </pc:sldChg>
      <pc:sldChg chg="add">
        <pc:chgData name="Meyer Raphael (PAR-ES)" userId="79615dfe-ed48-4e74-a40f-4f7b034c1c27" providerId="ADAL" clId="{F0F5DE81-F72C-4863-AD60-6BF2BDDD5607}" dt="2021-12-08T08:18:47.487" v="0" actId="2890"/>
        <pc:sldMkLst>
          <pc:docMk/>
          <pc:sldMk cId="3931044038" sldId="396"/>
        </pc:sldMkLst>
      </pc:sldChg>
    </pc:docChg>
  </pc:docChgLst>
  <pc:docChgLst>
    <pc:chgData name="Meyer Raphael (PAR-ES)" userId="79615dfe-ed48-4e74-a40f-4f7b034c1c27" providerId="ADAL" clId="{434B2013-B2C4-4896-BC95-7A0C2D018EBD}"/>
    <pc:docChg chg="delSld">
      <pc:chgData name="Meyer Raphael (PAR-ES)" userId="79615dfe-ed48-4e74-a40f-4f7b034c1c27" providerId="ADAL" clId="{434B2013-B2C4-4896-BC95-7A0C2D018EBD}" dt="2022-03-03T15:14:01.612" v="0" actId="47"/>
      <pc:docMkLst>
        <pc:docMk/>
      </pc:docMkLst>
      <pc:sldChg chg="del">
        <pc:chgData name="Meyer Raphael (PAR-ES)" userId="79615dfe-ed48-4e74-a40f-4f7b034c1c27" providerId="ADAL" clId="{434B2013-B2C4-4896-BC95-7A0C2D018EBD}" dt="2022-03-03T15:14:01.612" v="0" actId="47"/>
        <pc:sldMkLst>
          <pc:docMk/>
          <pc:sldMk cId="1284291177" sldId="400"/>
        </pc:sldMkLst>
      </pc:sldChg>
      <pc:sldChg chg="del">
        <pc:chgData name="Meyer Raphael (PAR-ES)" userId="79615dfe-ed48-4e74-a40f-4f7b034c1c27" providerId="ADAL" clId="{434B2013-B2C4-4896-BC95-7A0C2D018EBD}" dt="2022-03-03T15:14:01.612" v="0" actId="47"/>
        <pc:sldMkLst>
          <pc:docMk/>
          <pc:sldMk cId="2448611044" sldId="401"/>
        </pc:sldMkLst>
      </pc:sldChg>
      <pc:sldChg chg="del">
        <pc:chgData name="Meyer Raphael (PAR-ES)" userId="79615dfe-ed48-4e74-a40f-4f7b034c1c27" providerId="ADAL" clId="{434B2013-B2C4-4896-BC95-7A0C2D018EBD}" dt="2022-03-03T15:14:01.612" v="0" actId="47"/>
        <pc:sldMkLst>
          <pc:docMk/>
          <pc:sldMk cId="272270592" sldId="402"/>
        </pc:sldMkLst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Weigel Stefan (PAR-EPS)" userId="fd3b2067-2981-4ad8-bf3a-d2e1004e4fa8" providerId="ADAL" clId="{E0EF1EA4-B84F-4272-8D49-0CC0E3F6A746}"/>
    <pc:docChg chg="modSld">
      <pc:chgData name="Weigel Stefan (PAR-EPS)" userId="fd3b2067-2981-4ad8-bf3a-d2e1004e4fa8" providerId="ADAL" clId="{E0EF1EA4-B84F-4272-8D49-0CC0E3F6A746}" dt="2025-02-24T08:23:43.087" v="5" actId="27918"/>
      <pc:docMkLst>
        <pc:docMk/>
      </pc:docMkLst>
      <pc:sldChg chg="modSp mod">
        <pc:chgData name="Weigel Stefan (PAR-EPS)" userId="fd3b2067-2981-4ad8-bf3a-d2e1004e4fa8" providerId="ADAL" clId="{E0EF1EA4-B84F-4272-8D49-0CC0E3F6A746}" dt="2025-02-24T08:23:43.087" v="5" actId="27918"/>
        <pc:sldMkLst>
          <pc:docMk/>
          <pc:sldMk cId="2338066774" sldId="399"/>
        </pc:sldMkLst>
        <pc:spChg chg="mod">
          <ac:chgData name="Weigel Stefan (PAR-EPS)" userId="fd3b2067-2981-4ad8-bf3a-d2e1004e4fa8" providerId="ADAL" clId="{E0EF1EA4-B84F-4272-8D49-0CC0E3F6A746}" dt="2025-02-24T08:23:32.381" v="1" actId="20577"/>
          <ac:spMkLst>
            <pc:docMk/>
            <pc:sldMk cId="2338066774" sldId="399"/>
            <ac:spMk id="2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Meyer Raphael (PAR-ES)" userId="79615dfe-ed48-4e74-a40f-4f7b034c1c27" providerId="ADAL" clId="{EB5DEF9F-F706-47F6-B6EB-2038FBF844C5}"/>
    <pc:docChg chg="custSel delSld modSld">
      <pc:chgData name="Meyer Raphael (PAR-ES)" userId="79615dfe-ed48-4e74-a40f-4f7b034c1c27" providerId="ADAL" clId="{EB5DEF9F-F706-47F6-B6EB-2038FBF844C5}" dt="2022-01-17T15:29:07.310" v="33" actId="47"/>
      <pc:docMkLst>
        <pc:docMk/>
      </pc:docMkLst>
      <pc:sldChg chg="del">
        <pc:chgData name="Meyer Raphael (PAR-ES)" userId="79615dfe-ed48-4e74-a40f-4f7b034c1c27" providerId="ADAL" clId="{EB5DEF9F-F706-47F6-B6EB-2038FBF844C5}" dt="2022-01-17T15:29:07.310" v="33" actId="47"/>
        <pc:sldMkLst>
          <pc:docMk/>
          <pc:sldMk cId="2505455628" sldId="394"/>
        </pc:sldMkLst>
      </pc:sldChg>
      <pc:sldChg chg="modSp mod">
        <pc:chgData name="Meyer Raphael (PAR-ES)" userId="79615dfe-ed48-4e74-a40f-4f7b034c1c27" providerId="ADAL" clId="{EB5DEF9F-F706-47F6-B6EB-2038FBF844C5}" dt="2022-01-17T15:25:25.967" v="17" actId="20577"/>
        <pc:sldMkLst>
          <pc:docMk/>
          <pc:sldMk cId="2084493369" sldId="401"/>
        </pc:sldMkLst>
        <pc:spChg chg="mod">
          <ac:chgData name="Meyer Raphael (PAR-ES)" userId="79615dfe-ed48-4e74-a40f-4f7b034c1c27" providerId="ADAL" clId="{EB5DEF9F-F706-47F6-B6EB-2038FBF844C5}" dt="2022-01-17T15:23:10.622" v="2" actId="20577"/>
          <ac:spMkLst>
            <pc:docMk/>
            <pc:sldMk cId="2084493369" sldId="40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EB5DEF9F-F706-47F6-B6EB-2038FBF844C5}" dt="2022-01-17T15:24:57.509" v="14" actId="20577"/>
          <ac:spMkLst>
            <pc:docMk/>
            <pc:sldMk cId="2084493369" sldId="401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EB5DEF9F-F706-47F6-B6EB-2038FBF844C5}" dt="2022-01-17T15:25:25.967" v="17" actId="20577"/>
          <ac:spMkLst>
            <pc:docMk/>
            <pc:sldMk cId="2084493369" sldId="401"/>
            <ac:spMk id="11" creationId="{84F82B92-ACCD-41AC-8B9B-F49F946956E6}"/>
          </ac:spMkLst>
        </pc:spChg>
      </pc:sldChg>
      <pc:sldChg chg="modSp mod">
        <pc:chgData name="Meyer Raphael (PAR-ES)" userId="79615dfe-ed48-4e74-a40f-4f7b034c1c27" providerId="ADAL" clId="{EB5DEF9F-F706-47F6-B6EB-2038FBF844C5}" dt="2022-01-17T15:28:38.821" v="32" actId="20577"/>
        <pc:sldMkLst>
          <pc:docMk/>
          <pc:sldMk cId="1008431792" sldId="402"/>
        </pc:sldMkLst>
        <pc:spChg chg="mod">
          <ac:chgData name="Meyer Raphael (PAR-ES)" userId="79615dfe-ed48-4e74-a40f-4f7b034c1c27" providerId="ADAL" clId="{EB5DEF9F-F706-47F6-B6EB-2038FBF844C5}" dt="2022-01-17T15:27:38.747" v="20" actId="20577"/>
          <ac:spMkLst>
            <pc:docMk/>
            <pc:sldMk cId="1008431792" sldId="40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EB5DEF9F-F706-47F6-B6EB-2038FBF844C5}" dt="2022-01-17T15:28:18.017" v="29" actId="20577"/>
          <ac:spMkLst>
            <pc:docMk/>
            <pc:sldMk cId="1008431792" sldId="402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EB5DEF9F-F706-47F6-B6EB-2038FBF844C5}" dt="2022-01-17T15:28:38.821" v="32" actId="20577"/>
          <ac:spMkLst>
            <pc:docMk/>
            <pc:sldMk cId="1008431792" sldId="402"/>
            <ac:spMk id="11" creationId="{84F82B92-ACCD-41AC-8B9B-F49F946956E6}"/>
          </ac:spMkLst>
        </pc:spChg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B539623C-0D18-4ED4-94C0-AB6BD7AF6A63}"/>
    <pc:docChg chg="custSel addSld modSld">
      <pc:chgData name="Meyer Raphael (PAR-ES)" userId="79615dfe-ed48-4e74-a40f-4f7b034c1c27" providerId="ADAL" clId="{B539623C-0D18-4ED4-94C0-AB6BD7AF6A63}" dt="2022-03-03T15:11:16.556" v="96" actId="27918"/>
      <pc:docMkLst>
        <pc:docMk/>
      </pc:docMkLst>
      <pc:sldChg chg="modSp mod">
        <pc:chgData name="Meyer Raphael (PAR-ES)" userId="79615dfe-ed48-4e74-a40f-4f7b034c1c27" providerId="ADAL" clId="{B539623C-0D18-4ED4-94C0-AB6BD7AF6A63}" dt="2022-03-03T15:11:16.556" v="96" actId="27918"/>
        <pc:sldMkLst>
          <pc:docMk/>
          <pc:sldMk cId="2338066774" sldId="399"/>
        </pc:sldMkLst>
        <pc:spChg chg="mod">
          <ac:chgData name="Meyer Raphael (PAR-ES)" userId="79615dfe-ed48-4e74-a40f-4f7b034c1c27" providerId="ADAL" clId="{B539623C-0D18-4ED4-94C0-AB6BD7AF6A63}" dt="2022-03-03T15:01:27.564" v="48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B539623C-0D18-4ED4-94C0-AB6BD7AF6A63}" dt="2022-03-03T15:01:13.476" v="35" actId="20577"/>
          <ac:spMkLst>
            <pc:docMk/>
            <pc:sldMk cId="2338066774" sldId="399"/>
            <ac:spMk id="11" creationId="{84F82B92-ACCD-41AC-8B9B-F49F946956E6}"/>
          </ac:spMkLst>
        </pc:spChg>
        <pc:graphicFrameChg chg="mod">
          <ac:chgData name="Meyer Raphael (PAR-ES)" userId="79615dfe-ed48-4e74-a40f-4f7b034c1c27" providerId="ADAL" clId="{B539623C-0D18-4ED4-94C0-AB6BD7AF6A63}" dt="2022-03-03T14:59:16.561" v="9"/>
          <ac:graphicFrameMkLst>
            <pc:docMk/>
            <pc:sldMk cId="2338066774" sldId="399"/>
            <ac:graphicFrameMk id="6" creationId="{67E5BF1A-DCFF-4431-8721-9C385B8E6F53}"/>
          </ac:graphicFrameMkLst>
        </pc:graphicFrameChg>
      </pc:sldChg>
      <pc:sldChg chg="modSp add mod">
        <pc:chgData name="Meyer Raphael (PAR-ES)" userId="79615dfe-ed48-4e74-a40f-4f7b034c1c27" providerId="ADAL" clId="{B539623C-0D18-4ED4-94C0-AB6BD7AF6A63}" dt="2022-03-03T15:07:48.347" v="61" actId="27918"/>
        <pc:sldMkLst>
          <pc:docMk/>
          <pc:sldMk cId="1284291177" sldId="400"/>
        </pc:sldMkLst>
        <pc:spChg chg="mod">
          <ac:chgData name="Meyer Raphael (PAR-ES)" userId="79615dfe-ed48-4e74-a40f-4f7b034c1c27" providerId="ADAL" clId="{B539623C-0D18-4ED4-94C0-AB6BD7AF6A63}" dt="2022-03-03T15:06:50.434" v="54" actId="20577"/>
          <ac:spMkLst>
            <pc:docMk/>
            <pc:sldMk cId="1284291177" sldId="40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B539623C-0D18-4ED4-94C0-AB6BD7AF6A63}" dt="2022-03-03T15:07:07.484" v="57" actId="20577"/>
          <ac:spMkLst>
            <pc:docMk/>
            <pc:sldMk cId="1284291177" sldId="400"/>
            <ac:spMk id="11" creationId="{84F82B92-ACCD-41AC-8B9B-F49F946956E6}"/>
          </ac:spMkLst>
        </pc:spChg>
      </pc:sldChg>
      <pc:sldChg chg="modSp add mod">
        <pc:chgData name="Meyer Raphael (PAR-ES)" userId="79615dfe-ed48-4e74-a40f-4f7b034c1c27" providerId="ADAL" clId="{B539623C-0D18-4ED4-94C0-AB6BD7AF6A63}" dt="2022-03-03T15:09:17.377" v="77" actId="27918"/>
        <pc:sldMkLst>
          <pc:docMk/>
          <pc:sldMk cId="2448611044" sldId="401"/>
        </pc:sldMkLst>
        <pc:spChg chg="mod">
          <ac:chgData name="Meyer Raphael (PAR-ES)" userId="79615dfe-ed48-4e74-a40f-4f7b034c1c27" providerId="ADAL" clId="{B539623C-0D18-4ED4-94C0-AB6BD7AF6A63}" dt="2022-03-03T15:08:34.372" v="64" actId="20577"/>
          <ac:spMkLst>
            <pc:docMk/>
            <pc:sldMk cId="2448611044" sldId="40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B539623C-0D18-4ED4-94C0-AB6BD7AF6A63}" dt="2022-03-03T15:09:06.268" v="73" actId="20577"/>
          <ac:spMkLst>
            <pc:docMk/>
            <pc:sldMk cId="2448611044" sldId="401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B539623C-0D18-4ED4-94C0-AB6BD7AF6A63}" dt="2022-03-03T15:09:00.237" v="67" actId="20577"/>
          <ac:spMkLst>
            <pc:docMk/>
            <pc:sldMk cId="2448611044" sldId="401"/>
            <ac:spMk id="11" creationId="{84F82B92-ACCD-41AC-8B9B-F49F946956E6}"/>
          </ac:spMkLst>
        </pc:spChg>
      </pc:sldChg>
      <pc:sldChg chg="modSp add mod">
        <pc:chgData name="Meyer Raphael (PAR-ES)" userId="79615dfe-ed48-4e74-a40f-4f7b034c1c27" providerId="ADAL" clId="{B539623C-0D18-4ED4-94C0-AB6BD7AF6A63}" dt="2022-03-03T15:10:45.084" v="93" actId="27918"/>
        <pc:sldMkLst>
          <pc:docMk/>
          <pc:sldMk cId="272270592" sldId="402"/>
        </pc:sldMkLst>
        <pc:spChg chg="mod">
          <ac:chgData name="Meyer Raphael (PAR-ES)" userId="79615dfe-ed48-4e74-a40f-4f7b034c1c27" providerId="ADAL" clId="{B539623C-0D18-4ED4-94C0-AB6BD7AF6A63}" dt="2022-03-03T15:10:01.805" v="80" actId="20577"/>
          <ac:spMkLst>
            <pc:docMk/>
            <pc:sldMk cId="272270592" sldId="40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B539623C-0D18-4ED4-94C0-AB6BD7AF6A63}" dt="2022-03-03T15:10:34.404" v="89" actId="20577"/>
          <ac:spMkLst>
            <pc:docMk/>
            <pc:sldMk cId="272270592" sldId="402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B539623C-0D18-4ED4-94C0-AB6BD7AF6A63}" dt="2022-03-03T15:10:30.856" v="83" actId="20577"/>
          <ac:spMkLst>
            <pc:docMk/>
            <pc:sldMk cId="272270592" sldId="402"/>
            <ac:spMk id="11" creationId="{84F82B92-ACCD-41AC-8B9B-F49F946956E6}"/>
          </ac:spMkLst>
        </pc:spChg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Weigel Stefan (PAR-EPS)" userId="fd3b2067-2981-4ad8-bf3a-d2e1004e4fa8" providerId="ADAL" clId="{943BC65F-EAB8-498A-9D91-793F326301E8}"/>
    <pc:docChg chg="modSld">
      <pc:chgData name="Weigel Stefan (PAR-EPS)" userId="fd3b2067-2981-4ad8-bf3a-d2e1004e4fa8" providerId="ADAL" clId="{943BC65F-EAB8-498A-9D91-793F326301E8}" dt="2024-01-11T16:58:13.455" v="12" actId="27918"/>
      <pc:docMkLst>
        <pc:docMk/>
      </pc:docMkLst>
      <pc:sldChg chg="modSp mod">
        <pc:chgData name="Weigel Stefan (PAR-EPS)" userId="fd3b2067-2981-4ad8-bf3a-d2e1004e4fa8" providerId="ADAL" clId="{943BC65F-EAB8-498A-9D91-793F326301E8}" dt="2024-01-11T16:58:13.455" v="12" actId="27918"/>
        <pc:sldMkLst>
          <pc:docMk/>
          <pc:sldMk cId="2338066774" sldId="399"/>
        </pc:sldMkLst>
        <pc:spChg chg="mod">
          <ac:chgData name="Weigel Stefan (PAR-EPS)" userId="fd3b2067-2981-4ad8-bf3a-d2e1004e4fa8" providerId="ADAL" clId="{943BC65F-EAB8-498A-9D91-793F326301E8}" dt="2024-01-11T16:56:46.661" v="1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943BC65F-EAB8-498A-9D91-793F326301E8}" dt="2024-01-11T16:57:01.749" v="3" actId="255"/>
          <ac:spMkLst>
            <pc:docMk/>
            <pc:sldMk cId="2338066774" sldId="399"/>
            <ac:spMk id="7" creationId="{CE60A944-7104-442D-B06A-85C8256131F7}"/>
          </ac:spMkLst>
        </pc:spChg>
        <pc:spChg chg="mod">
          <ac:chgData name="Weigel Stefan (PAR-EPS)" userId="fd3b2067-2981-4ad8-bf3a-d2e1004e4fa8" providerId="ADAL" clId="{943BC65F-EAB8-498A-9D91-793F326301E8}" dt="2024-01-11T16:56:50.873" v="2" actId="255"/>
          <ac:spMkLst>
            <pc:docMk/>
            <pc:sldMk cId="2338066774" sldId="399"/>
            <ac:spMk id="11" creationId="{84F82B92-ACCD-41AC-8B9B-F49F946956E6}"/>
          </ac:spMkLst>
        </pc:spChg>
      </pc:sldChg>
    </pc:docChg>
  </pc:docChgLst>
  <pc:docChgLst>
    <pc:chgData name="Meyer Raphael (PAR-ES)" userId="79615dfe-ed48-4e74-a40f-4f7b034c1c27" providerId="ADAL" clId="{3F82E127-1ED1-4162-A039-B6321E3D039C}"/>
    <pc:docChg chg="modSld">
      <pc:chgData name="Meyer Raphael (PAR-ES)" userId="79615dfe-ed48-4e74-a40f-4f7b034c1c27" providerId="ADAL" clId="{3F82E127-1ED1-4162-A039-B6321E3D039C}" dt="2022-01-17T14:03:49.595" v="8" actId="20577"/>
      <pc:docMkLst>
        <pc:docMk/>
      </pc:docMkLst>
      <pc:sldChg chg="modSp mod">
        <pc:chgData name="Meyer Raphael (PAR-ES)" userId="79615dfe-ed48-4e74-a40f-4f7b034c1c27" providerId="ADAL" clId="{3F82E127-1ED1-4162-A039-B6321E3D039C}" dt="2022-01-17T14:03:49.595" v="8" actId="20577"/>
        <pc:sldMkLst>
          <pc:docMk/>
          <pc:sldMk cId="179071578" sldId="400"/>
        </pc:sldMkLst>
        <pc:spChg chg="mod">
          <ac:chgData name="Meyer Raphael (PAR-ES)" userId="79615dfe-ed48-4e74-a40f-4f7b034c1c27" providerId="ADAL" clId="{3F82E127-1ED1-4162-A039-B6321E3D039C}" dt="2022-01-17T14:02:36.178" v="2" actId="20577"/>
          <ac:spMkLst>
            <pc:docMk/>
            <pc:sldMk cId="179071578" sldId="40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3F82E127-1ED1-4162-A039-B6321E3D039C}" dt="2022-01-17T14:03:49.595" v="8" actId="20577"/>
          <ac:spMkLst>
            <pc:docMk/>
            <pc:sldMk cId="179071578" sldId="400"/>
            <ac:spMk id="11" creationId="{84F82B92-ACCD-41AC-8B9B-F49F946956E6}"/>
          </ac:spMkLst>
        </pc:spChg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Weigel Stefan (PAR-ES)" userId="fd3b2067-2981-4ad8-bf3a-d2e1004e4fa8" providerId="ADAL" clId="{DA2D30E0-C7A6-4263-B493-317C52B41444}"/>
    <pc:docChg chg="modSld">
      <pc:chgData name="Weigel Stefan (PAR-ES)" userId="fd3b2067-2981-4ad8-bf3a-d2e1004e4fa8" providerId="ADAL" clId="{DA2D30E0-C7A6-4263-B493-317C52B41444}" dt="2023-02-01T14:22:20.299" v="6"/>
      <pc:docMkLst>
        <pc:docMk/>
      </pc:docMkLst>
      <pc:sldChg chg="modSp mod">
        <pc:chgData name="Weigel Stefan (PAR-ES)" userId="fd3b2067-2981-4ad8-bf3a-d2e1004e4fa8" providerId="ADAL" clId="{DA2D30E0-C7A6-4263-B493-317C52B41444}" dt="2023-02-01T14:22:20.299" v="6"/>
        <pc:sldMkLst>
          <pc:docMk/>
          <pc:sldMk cId="2338066774" sldId="399"/>
        </pc:sldMkLst>
        <pc:spChg chg="mod">
          <ac:chgData name="Weigel Stefan (PAR-ES)" userId="fd3b2067-2981-4ad8-bf3a-d2e1004e4fa8" providerId="ADAL" clId="{DA2D30E0-C7A6-4263-B493-317C52B41444}" dt="2023-02-01T14:21:44.799" v="2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Weigel Stefan (PAR-ES)" userId="fd3b2067-2981-4ad8-bf3a-d2e1004e4fa8" providerId="ADAL" clId="{DA2D30E0-C7A6-4263-B493-317C52B41444}" dt="2023-02-01T14:22:20.299" v="6"/>
          <ac:spMkLst>
            <pc:docMk/>
            <pc:sldMk cId="2338066774" sldId="399"/>
            <ac:spMk id="11" creationId="{84F82B92-ACCD-41AC-8B9B-F49F946956E6}"/>
          </ac:spMkLst>
        </pc:spChg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495011838962335"/>
          <c:y val="0.10745262598812517"/>
          <c:w val="0.70347277391447394"/>
          <c:h val="0.79946404345414779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data!$C$19</c:f>
              <c:strCache>
                <c:ptCount val="1"/>
                <c:pt idx="0">
                  <c:v>Men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>
              <a:noFill/>
            </a:ln>
          </c:spPr>
          <c:invertIfNegative val="0"/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4CC5-4387-A227-3B5CA15071DA}"/>
              </c:ext>
            </c:extLst>
          </c:dPt>
          <c:cat>
            <c:strRef>
              <c:f>data!$B$20:$B$29</c:f>
              <c:strCache>
                <c:ptCount val="10"/>
                <c:pt idx="0">
                  <c:v>less than 5 years</c:v>
                </c:pt>
                <c:pt idx="1">
                  <c:v>between 5 and 9 years</c:v>
                </c:pt>
                <c:pt idx="2">
                  <c:v>between 10 and 14 years</c:v>
                </c:pt>
                <c:pt idx="3">
                  <c:v>between 15 and 19 years</c:v>
                </c:pt>
                <c:pt idx="4">
                  <c:v>between 20 and 24 years</c:v>
                </c:pt>
                <c:pt idx="5">
                  <c:v>between 25 and 29 years</c:v>
                </c:pt>
                <c:pt idx="6">
                  <c:v>between 30 and 34 years</c:v>
                </c:pt>
                <c:pt idx="7">
                  <c:v>between 35 and 39 years</c:v>
                </c:pt>
                <c:pt idx="8">
                  <c:v>between 40 and 44 years</c:v>
                </c:pt>
                <c:pt idx="9">
                  <c:v>45 years and more</c:v>
                </c:pt>
              </c:strCache>
            </c:strRef>
          </c:cat>
          <c:val>
            <c:numRef>
              <c:f>data!$C$20:$C$29</c:f>
              <c:numCache>
                <c:formatCode>#,##0</c:formatCode>
                <c:ptCount val="10"/>
                <c:pt idx="0">
                  <c:v>-8672</c:v>
                </c:pt>
                <c:pt idx="1">
                  <c:v>-4319</c:v>
                </c:pt>
                <c:pt idx="2">
                  <c:v>-3385</c:v>
                </c:pt>
                <c:pt idx="3">
                  <c:v>-1780</c:v>
                </c:pt>
                <c:pt idx="4">
                  <c:v>-1512</c:v>
                </c:pt>
                <c:pt idx="5">
                  <c:v>-540</c:v>
                </c:pt>
                <c:pt idx="6">
                  <c:v>-1760</c:v>
                </c:pt>
                <c:pt idx="7">
                  <c:v>-2299</c:v>
                </c:pt>
                <c:pt idx="8">
                  <c:v>-1242</c:v>
                </c:pt>
                <c:pt idx="9">
                  <c:v>-3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CC5-4387-A227-3B5CA15071DA}"/>
            </c:ext>
          </c:extLst>
        </c:ser>
        <c:ser>
          <c:idx val="1"/>
          <c:order val="1"/>
          <c:tx>
            <c:strRef>
              <c:f>data!$D$19</c:f>
              <c:strCache>
                <c:ptCount val="1"/>
                <c:pt idx="0">
                  <c:v>Women</c:v>
                </c:pt>
              </c:strCache>
            </c:strRef>
          </c:tx>
          <c:spPr>
            <a:solidFill>
              <a:srgbClr val="B00000"/>
            </a:solidFill>
            <a:ln>
              <a:noFill/>
            </a:ln>
          </c:spPr>
          <c:invertIfNegative val="0"/>
          <c:cat>
            <c:strRef>
              <c:f>data!$B$20:$B$29</c:f>
              <c:strCache>
                <c:ptCount val="10"/>
                <c:pt idx="0">
                  <c:v>less than 5 years</c:v>
                </c:pt>
                <c:pt idx="1">
                  <c:v>between 5 and 9 years</c:v>
                </c:pt>
                <c:pt idx="2">
                  <c:v>between 10 and 14 years</c:v>
                </c:pt>
                <c:pt idx="3">
                  <c:v>between 15 and 19 years</c:v>
                </c:pt>
                <c:pt idx="4">
                  <c:v>between 20 and 24 years</c:v>
                </c:pt>
                <c:pt idx="5">
                  <c:v>between 25 and 29 years</c:v>
                </c:pt>
                <c:pt idx="6">
                  <c:v>between 30 and 34 years</c:v>
                </c:pt>
                <c:pt idx="7">
                  <c:v>between 35 and 39 years</c:v>
                </c:pt>
                <c:pt idx="8">
                  <c:v>between 40 and 44 years</c:v>
                </c:pt>
                <c:pt idx="9">
                  <c:v>45 years and more</c:v>
                </c:pt>
              </c:strCache>
            </c:strRef>
          </c:cat>
          <c:val>
            <c:numRef>
              <c:f>data!$D$20:$D$29</c:f>
              <c:numCache>
                <c:formatCode>#,##0</c:formatCode>
                <c:ptCount val="10"/>
                <c:pt idx="0">
                  <c:v>2706</c:v>
                </c:pt>
                <c:pt idx="1">
                  <c:v>1259</c:v>
                </c:pt>
                <c:pt idx="2">
                  <c:v>930</c:v>
                </c:pt>
                <c:pt idx="3">
                  <c:v>477</c:v>
                </c:pt>
                <c:pt idx="4">
                  <c:v>368</c:v>
                </c:pt>
                <c:pt idx="5">
                  <c:v>106</c:v>
                </c:pt>
                <c:pt idx="6">
                  <c:v>342</c:v>
                </c:pt>
                <c:pt idx="7">
                  <c:v>258</c:v>
                </c:pt>
                <c:pt idx="8">
                  <c:v>74</c:v>
                </c:pt>
                <c:pt idx="9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CC5-4387-A227-3B5CA15071D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25"/>
        <c:overlap val="100"/>
        <c:axId val="125733120"/>
        <c:axId val="125422208"/>
      </c:barChart>
      <c:valAx>
        <c:axId val="125422208"/>
        <c:scaling>
          <c:orientation val="minMax"/>
          <c:max val="3000"/>
          <c:min val="-9000"/>
        </c:scaling>
        <c:delete val="0"/>
        <c:axPos val="b"/>
        <c:majorGridlines>
          <c:spPr>
            <a:ln>
              <a:solidFill>
                <a:schemeClr val="accent5"/>
              </a:solidFill>
            </a:ln>
          </c:spPr>
        </c:majorGridlines>
        <c:numFmt formatCode="0;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>
                <a:solidFill>
                  <a:schemeClr val="tx1"/>
                </a:solidFill>
              </a:defRPr>
            </a:pPr>
            <a:endParaRPr lang="de-DE"/>
          </a:p>
        </c:txPr>
        <c:crossAx val="125733120"/>
        <c:crossesAt val="1"/>
        <c:crossBetween val="between"/>
        <c:majorUnit val="1500"/>
      </c:valAx>
      <c:catAx>
        <c:axId val="125733120"/>
        <c:scaling>
          <c:orientation val="minMax"/>
        </c:scaling>
        <c:delete val="0"/>
        <c:axPos val="r"/>
        <c:numFmt formatCode="General" sourceLinked="1"/>
        <c:majorTickMark val="none"/>
        <c:minorTickMark val="none"/>
        <c:tickLblPos val="high"/>
        <c:spPr>
          <a:ln>
            <a:solidFill>
              <a:schemeClr val="tx2"/>
            </a:solidFill>
          </a:ln>
        </c:spPr>
        <c:txPr>
          <a:bodyPr/>
          <a:lstStyle/>
          <a:p>
            <a:pPr>
              <a:defRPr sz="1100">
                <a:solidFill>
                  <a:srgbClr val="444444"/>
                </a:solidFill>
              </a:defRPr>
            </a:pPr>
            <a:endParaRPr lang="de-DE"/>
          </a:p>
        </c:txPr>
        <c:crossAx val="125422208"/>
        <c:crosses val="max"/>
        <c:auto val="0"/>
        <c:lblAlgn val="ctr"/>
        <c:lblOffset val="100"/>
        <c:noMultiLvlLbl val="0"/>
      </c:catAx>
    </c:plotArea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58031</cdr:x>
      <cdr:y>0.03681</cdr:y>
    </cdr:from>
    <cdr:to>
      <cdr:x>0.61675</cdr:x>
      <cdr:y>0.08918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5803599" y="164669"/>
          <a:ext cx="364429" cy="234277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CH" sz="1050" dirty="0"/>
            <a:t>Men </a:t>
          </a:r>
          <a:endParaRPr lang="de-CH" sz="1050" dirty="0">
            <a:latin typeface="Arial" pitchFamily="34" charset="0"/>
            <a:cs typeface="Arial" pitchFamily="34" charset="0"/>
          </a:endParaRPr>
        </a:p>
      </cdr:txBody>
    </cdr:sp>
  </cdr:relSizeAnchor>
  <cdr:relSizeAnchor xmlns:cdr="http://schemas.openxmlformats.org/drawingml/2006/chartDrawing">
    <cdr:from>
      <cdr:x>0.65619</cdr:x>
      <cdr:y>0.03681</cdr:y>
    </cdr:from>
    <cdr:to>
      <cdr:x>0.71235</cdr:x>
      <cdr:y>0.08918</cdr:y>
    </cdr:to>
    <cdr:sp macro="" textlink="">
      <cdr:nvSpPr>
        <cdr:cNvPr id="3" name="Textfeld 1"/>
        <cdr:cNvSpPr txBox="1"/>
      </cdr:nvSpPr>
      <cdr:spPr>
        <a:xfrm xmlns:a="http://schemas.openxmlformats.org/drawingml/2006/main">
          <a:off x="6562438" y="164669"/>
          <a:ext cx="561644" cy="234277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lIns="36000" tIns="36000" rIns="36000" bIns="36000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de-CH" sz="1050" dirty="0"/>
            <a:t>Women </a:t>
          </a:r>
          <a:endParaRPr lang="de-CH" sz="1050" dirty="0">
            <a:latin typeface="Arial" pitchFamily="34" charset="0"/>
            <a:cs typeface="Arial" pitchFamily="34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24.02.2025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BB • Division • Abteilung oder Bereich • DD.MM.YY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ED26404-58E8-4486-905C-9BBBD7B83F82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63235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770387148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9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theme" Target="../theme/theme3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slideLayout" Target="../slideLayouts/slideLayout87.xml"/><Relationship Id="rId40" Type="http://schemas.openxmlformats.org/officeDocument/2006/relationships/image" Target="../media/image10.emf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8" r:id="rId36"/>
    <p:sldLayoutId id="2147483750" r:id="rId37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0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441158"/>
          </a:xfrm>
        </p:spPr>
        <p:txBody>
          <a:bodyPr/>
          <a:lstStyle/>
          <a:p>
            <a:r>
              <a:rPr lang="en-US" dirty="0"/>
              <a:t>Employees by years of service in 2024.</a:t>
            </a:r>
            <a:endParaRPr lang="de-CH" sz="1400" dirty="0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CE60A944-7104-442D-B06A-85C8256131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01331" y="6092825"/>
            <a:ext cx="1727767" cy="170649"/>
          </a:xfrm>
        </p:spPr>
        <p:txBody>
          <a:bodyPr/>
          <a:lstStyle/>
          <a:p>
            <a:pPr algn="r"/>
            <a:r>
              <a:rPr lang="de-CH" sz="1100" kern="0" spc="0" dirty="0">
                <a:solidFill>
                  <a:srgbClr val="444444"/>
                </a:solidFill>
                <a:latin typeface="+mj-lt"/>
              </a:rPr>
              <a:t>reporting.sbb.ch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84F82B92-ACCD-41AC-8B9B-F49F946956E6}"/>
              </a:ext>
            </a:extLst>
          </p:cNvPr>
          <p:cNvSpPr txBox="1"/>
          <p:nvPr/>
        </p:nvSpPr>
        <p:spPr>
          <a:xfrm>
            <a:off x="1487487" y="6092825"/>
            <a:ext cx="6459309" cy="578428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r>
              <a:rPr lang="en-US" sz="1100" dirty="0">
                <a:solidFill>
                  <a:srgbClr val="444444"/>
                </a:solidFill>
                <a:latin typeface="+mj-lt"/>
                <a:cs typeface="Arial" pitchFamily="34" charset="0"/>
              </a:rPr>
              <a:t>Employees at end of year. SBB AG und SBB Cargo Ltd (Switzerland).</a:t>
            </a:r>
          </a:p>
        </p:txBody>
      </p:sp>
      <p:graphicFrame>
        <p:nvGraphicFramePr>
          <p:cNvPr id="6" name="Diagramm 5">
            <a:extLst>
              <a:ext uri="{FF2B5EF4-FFF2-40B4-BE49-F238E27FC236}">
                <a16:creationId xmlns:a16="http://schemas.microsoft.com/office/drawing/2014/main" id="{67E5BF1A-DCFF-4431-8721-9C385B8E6F5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0251577"/>
              </p:ext>
            </p:extLst>
          </p:nvPr>
        </p:nvGraphicFramePr>
        <p:xfrm>
          <a:off x="703716" y="1402252"/>
          <a:ext cx="10000795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3380667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4dd304521cd42a335004f88bc78b46b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0119a1b2b524b2b9f972c52e0796504f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793C4CB-28A3-4473-943E-2BD70B6F7AE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915E158-F398-42BF-8A91-7C2A147B9234}">
  <ds:schemaRefs>
    <ds:schemaRef ds:uri="http://schemas.openxmlformats.org/package/2006/metadata/core-properties"/>
    <ds:schemaRef ds:uri="http://purl.org/dc/elements/1.1/"/>
    <ds:schemaRef ds:uri="http://schemas.microsoft.com/office/2006/metadata/properties"/>
    <ds:schemaRef ds:uri="96e82a89-ba48-4728-b345-cf206dbec8f1"/>
    <ds:schemaRef ds:uri="http://purl.org/dc/terms/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44</Words>
  <Application>Microsoft Office PowerPoint</Application>
  <PresentationFormat>Breitbild</PresentationFormat>
  <Paragraphs>7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think-cell Folie</vt:lpstr>
      <vt:lpstr>Employees by years of service in 2024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mployees by years of service in 2024.</dc:title>
  <dc:creator>Meyer Raphael (KOM-PGA-VSF)</dc:creator>
  <cp:lastModifiedBy>Stefan Weigel (PAR-EPS)</cp:lastModifiedBy>
  <cp:revision>55</cp:revision>
  <dcterms:created xsi:type="dcterms:W3CDTF">2020-09-30T11:00:09Z</dcterms:created>
  <dcterms:modified xsi:type="dcterms:W3CDTF">2025-02-24T12:59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